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8"/>
  </p:notesMasterIdLst>
  <p:sldIdLst>
    <p:sldId id="409" r:id="rId5"/>
    <p:sldId id="394" r:id="rId6"/>
    <p:sldId id="395" r:id="rId7"/>
    <p:sldId id="400" r:id="rId8"/>
    <p:sldId id="401" r:id="rId9"/>
    <p:sldId id="412" r:id="rId10"/>
    <p:sldId id="402" r:id="rId11"/>
    <p:sldId id="410" r:id="rId12"/>
    <p:sldId id="311" r:id="rId13"/>
    <p:sldId id="413" r:id="rId14"/>
    <p:sldId id="414" r:id="rId15"/>
    <p:sldId id="415" r:id="rId16"/>
    <p:sldId id="416" r:id="rId17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. Marketing Mix - Basics and Agenda" id="{CE25109D-E847-40CA-8DEC-066DADDCD4B2}">
          <p14:sldIdLst>
            <p14:sldId id="409"/>
            <p14:sldId id="394"/>
            <p14:sldId id="395"/>
            <p14:sldId id="400"/>
            <p14:sldId id="401"/>
            <p14:sldId id="412"/>
            <p14:sldId id="402"/>
            <p14:sldId id="410"/>
            <p14:sldId id="311"/>
            <p14:sldId id="413"/>
            <p14:sldId id="414"/>
            <p14:sldId id="415"/>
            <p14:sldId id="41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70" d="100"/>
          <a:sy n="70" d="100"/>
        </p:scale>
        <p:origin x="468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24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217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93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717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264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28D681-7867-E949-A3D2-41DDE609BED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776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24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1399032"/>
            <a:ext cx="11436351" cy="3346704"/>
          </a:xfrm>
        </p:spPr>
        <p:txBody>
          <a:bodyPr/>
          <a:lstStyle/>
          <a:p>
            <a:r>
              <a:rPr lang="en-GB" dirty="0"/>
              <a:t>Marketing Mix Models</a:t>
            </a:r>
            <a:br>
              <a:rPr lang="en-GB" dirty="0"/>
            </a:br>
            <a:br>
              <a:rPr lang="en-GB" dirty="0"/>
            </a:br>
            <a:r>
              <a:rPr lang="en-GB" sz="2400" dirty="0"/>
              <a:t>Senthil Murugan (Merck) &amp; Sarath Ashokan (</a:t>
            </a:r>
            <a:r>
              <a:rPr lang="en-GB" sz="2400" dirty="0" err="1"/>
              <a:t>Datazymes</a:t>
            </a:r>
            <a:r>
              <a:rPr lang="en-GB" sz="2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6091682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CP Non-Personal / Digital Promo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0</a:t>
            </a:fld>
            <a:endParaRPr lang="en-GB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8E1495B-20BB-FE92-12C1-D6D192F94D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395210"/>
              </p:ext>
            </p:extLst>
          </p:nvPr>
        </p:nvGraphicFramePr>
        <p:xfrm>
          <a:off x="377824" y="1414013"/>
          <a:ext cx="11436351" cy="4193550"/>
        </p:xfrm>
        <a:graphic>
          <a:graphicData uri="http://schemas.openxmlformats.org/drawingml/2006/table">
            <a:tbl>
              <a:tblPr firstRow="1" bandRow="1"/>
              <a:tblGrid>
                <a:gridCol w="1914872">
                  <a:extLst>
                    <a:ext uri="{9D8B030D-6E8A-4147-A177-3AD203B41FA5}">
                      <a16:colId xmlns:a16="http://schemas.microsoft.com/office/drawing/2014/main" val="2114055193"/>
                    </a:ext>
                  </a:extLst>
                </a:gridCol>
                <a:gridCol w="1621791">
                  <a:extLst>
                    <a:ext uri="{9D8B030D-6E8A-4147-A177-3AD203B41FA5}">
                      <a16:colId xmlns:a16="http://schemas.microsoft.com/office/drawing/2014/main" val="1114603354"/>
                    </a:ext>
                  </a:extLst>
                </a:gridCol>
                <a:gridCol w="1245116">
                  <a:extLst>
                    <a:ext uri="{9D8B030D-6E8A-4147-A177-3AD203B41FA5}">
                      <a16:colId xmlns:a16="http://schemas.microsoft.com/office/drawing/2014/main" val="3898260564"/>
                    </a:ext>
                  </a:extLst>
                </a:gridCol>
                <a:gridCol w="6654572">
                  <a:extLst>
                    <a:ext uri="{9D8B030D-6E8A-4147-A177-3AD203B41FA5}">
                      <a16:colId xmlns:a16="http://schemas.microsoft.com/office/drawing/2014/main" val="2438913573"/>
                    </a:ext>
                  </a:extLst>
                </a:gridCol>
              </a:tblGrid>
              <a:tr h="139797"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ion Typ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nel List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ROI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426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 Mail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 mail sent to target home/office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704505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R/EHR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 Medical/Health Record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273066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sletters Banners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 - static banners are associated with society and online journal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52407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-office Media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ertisements on TV in HCPs back office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523258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ail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HQ and Third-Party Vendor email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9403577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Form Programs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-detail, gamification, video</a:t>
                      </a:r>
                      <a:endParaRPr lang="en-US" sz="1100" u="sng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313258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rt Form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erts, expand banner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3884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Targeted Banner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run-of-site (ROS), interstitial and </a:t>
                      </a:r>
                      <a:r>
                        <a:rPr lang="en-US" sz="11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titial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31378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ed Banner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programmatic, precision, target list, other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034803"/>
                  </a:ext>
                </a:extLst>
              </a:tr>
              <a:tr h="3835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ference Media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des prints, digital (displays (congress app), banners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ngress app)),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-of-Home (OOH | e.g. airport, bus stations), In-Hall (in the conference)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257669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urnal Ads (print)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 Media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73396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d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arches are paid based on keyword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913133"/>
                  </a:ext>
                </a:extLst>
              </a:tr>
              <a:tr h="3835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extual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 of optimizing web-based search results based on context provided by the user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5131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Non-Personal/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Twitter, Instagram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455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513261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er Digital Promo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1</a:t>
            </a:fld>
            <a:endParaRPr lang="en-GB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A3FA372-E337-F4D4-73FB-1C431A0802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4265825"/>
              </p:ext>
            </p:extLst>
          </p:nvPr>
        </p:nvGraphicFramePr>
        <p:xfrm>
          <a:off x="377824" y="1390645"/>
          <a:ext cx="11436351" cy="2730510"/>
        </p:xfrm>
        <a:graphic>
          <a:graphicData uri="http://schemas.openxmlformats.org/drawingml/2006/table">
            <a:tbl>
              <a:tblPr firstRow="1" bandRow="1"/>
              <a:tblGrid>
                <a:gridCol w="1914872">
                  <a:extLst>
                    <a:ext uri="{9D8B030D-6E8A-4147-A177-3AD203B41FA5}">
                      <a16:colId xmlns:a16="http://schemas.microsoft.com/office/drawing/2014/main" val="2114055193"/>
                    </a:ext>
                  </a:extLst>
                </a:gridCol>
                <a:gridCol w="1621791">
                  <a:extLst>
                    <a:ext uri="{9D8B030D-6E8A-4147-A177-3AD203B41FA5}">
                      <a16:colId xmlns:a16="http://schemas.microsoft.com/office/drawing/2014/main" val="1114603354"/>
                    </a:ext>
                  </a:extLst>
                </a:gridCol>
                <a:gridCol w="1245116">
                  <a:extLst>
                    <a:ext uri="{9D8B030D-6E8A-4147-A177-3AD203B41FA5}">
                      <a16:colId xmlns:a16="http://schemas.microsoft.com/office/drawing/2014/main" val="3898260564"/>
                    </a:ext>
                  </a:extLst>
                </a:gridCol>
                <a:gridCol w="6654572">
                  <a:extLst>
                    <a:ext uri="{9D8B030D-6E8A-4147-A177-3AD203B41FA5}">
                      <a16:colId xmlns:a16="http://schemas.microsoft.com/office/drawing/2014/main" val="2438913573"/>
                    </a:ext>
                  </a:extLst>
                </a:gridCol>
              </a:tblGrid>
              <a:tr h="139797"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ion Typ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nel List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ROI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426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int of Care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ertisements in waiting rooms and office visit room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523258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la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nners on web-site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31378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nt Media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73396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d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arches using keywords  (e.g. Google &amp; Bing)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913133"/>
                  </a:ext>
                </a:extLst>
              </a:tr>
              <a:tr h="3835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extual Search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 Media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5131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 fontAlgn="ctr"/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Twitter, Instagram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455341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ine Vide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ou-Tub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11683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ing Vide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ver-the-top (OTT) &amp; Full Episode Player (FEP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796723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mer Digita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 TV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tional TV ad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D1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879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805428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l Promo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2</a:t>
            </a:fld>
            <a:endParaRPr lang="en-GB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69848D9-B978-C617-AEED-E59AB9557D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199419"/>
              </p:ext>
            </p:extLst>
          </p:nvPr>
        </p:nvGraphicFramePr>
        <p:xfrm>
          <a:off x="377824" y="1418077"/>
          <a:ext cx="11436351" cy="1310640"/>
        </p:xfrm>
        <a:graphic>
          <a:graphicData uri="http://schemas.openxmlformats.org/drawingml/2006/table">
            <a:tbl>
              <a:tblPr firstRow="1" bandRow="1"/>
              <a:tblGrid>
                <a:gridCol w="1914872">
                  <a:extLst>
                    <a:ext uri="{9D8B030D-6E8A-4147-A177-3AD203B41FA5}">
                      <a16:colId xmlns:a16="http://schemas.microsoft.com/office/drawing/2014/main" val="2114055193"/>
                    </a:ext>
                  </a:extLst>
                </a:gridCol>
                <a:gridCol w="1621791">
                  <a:extLst>
                    <a:ext uri="{9D8B030D-6E8A-4147-A177-3AD203B41FA5}">
                      <a16:colId xmlns:a16="http://schemas.microsoft.com/office/drawing/2014/main" val="1114603354"/>
                    </a:ext>
                  </a:extLst>
                </a:gridCol>
                <a:gridCol w="1245116">
                  <a:extLst>
                    <a:ext uri="{9D8B030D-6E8A-4147-A177-3AD203B41FA5}">
                      <a16:colId xmlns:a16="http://schemas.microsoft.com/office/drawing/2014/main" val="3898260564"/>
                    </a:ext>
                  </a:extLst>
                </a:gridCol>
                <a:gridCol w="6654572">
                  <a:extLst>
                    <a:ext uri="{9D8B030D-6E8A-4147-A177-3AD203B41FA5}">
                      <a16:colId xmlns:a16="http://schemas.microsoft.com/office/drawing/2014/main" val="2438913573"/>
                    </a:ext>
                  </a:extLst>
                </a:gridCol>
              </a:tblGrid>
              <a:tr h="139797"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ion Typ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nel List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ROI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lvl="0"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42630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eld Details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p Call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4276181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/Digita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eld Emai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eva Email by Rep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644387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O MMF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education organized by Group Practice Organization – Lecture Only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A29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070866"/>
                  </a:ext>
                </a:extLst>
              </a:tr>
              <a:tr h="2328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P Persona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ditional MMF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education organized by sales force – Lecture, Peer Discussion Group, Symposia 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1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002880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nels and Vendors included in Analysi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13</a:t>
            </a:fld>
            <a:endParaRPr lang="en-GB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725986-00C9-A734-50F1-5473002F91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569832"/>
              </p:ext>
            </p:extLst>
          </p:nvPr>
        </p:nvGraphicFramePr>
        <p:xfrm>
          <a:off x="2704040" y="1295408"/>
          <a:ext cx="5869522" cy="5410192"/>
        </p:xfrm>
        <a:graphic>
          <a:graphicData uri="http://schemas.openxmlformats.org/drawingml/2006/table">
            <a:tbl>
              <a:tblPr/>
              <a:tblGrid>
                <a:gridCol w="1688717">
                  <a:extLst>
                    <a:ext uri="{9D8B030D-6E8A-4147-A177-3AD203B41FA5}">
                      <a16:colId xmlns:a16="http://schemas.microsoft.com/office/drawing/2014/main" val="3884702091"/>
                    </a:ext>
                  </a:extLst>
                </a:gridCol>
                <a:gridCol w="786975">
                  <a:extLst>
                    <a:ext uri="{9D8B030D-6E8A-4147-A177-3AD203B41FA5}">
                      <a16:colId xmlns:a16="http://schemas.microsoft.com/office/drawing/2014/main" val="2777009718"/>
                    </a:ext>
                  </a:extLst>
                </a:gridCol>
                <a:gridCol w="786975">
                  <a:extLst>
                    <a:ext uri="{9D8B030D-6E8A-4147-A177-3AD203B41FA5}">
                      <a16:colId xmlns:a16="http://schemas.microsoft.com/office/drawing/2014/main" val="2257839413"/>
                    </a:ext>
                  </a:extLst>
                </a:gridCol>
                <a:gridCol w="885347">
                  <a:extLst>
                    <a:ext uri="{9D8B030D-6E8A-4147-A177-3AD203B41FA5}">
                      <a16:colId xmlns:a16="http://schemas.microsoft.com/office/drawing/2014/main" val="1429003508"/>
                    </a:ext>
                  </a:extLst>
                </a:gridCol>
                <a:gridCol w="868951">
                  <a:extLst>
                    <a:ext uri="{9D8B030D-6E8A-4147-A177-3AD203B41FA5}">
                      <a16:colId xmlns:a16="http://schemas.microsoft.com/office/drawing/2014/main" val="3078267988"/>
                    </a:ext>
                  </a:extLst>
                </a:gridCol>
                <a:gridCol w="852557">
                  <a:extLst>
                    <a:ext uri="{9D8B030D-6E8A-4147-A177-3AD203B41FA5}">
                      <a16:colId xmlns:a16="http://schemas.microsoft.com/office/drawing/2014/main" val="47211986"/>
                    </a:ext>
                  </a:extLst>
                </a:gridCol>
              </a:tblGrid>
              <a:tr h="22141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endo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ler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nn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xp </a:t>
                      </a:r>
                      <a:r>
                        <a:rPr lang="en-US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nnr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Detail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384577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RTMK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86170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EPINT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66429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216985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XIMIT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4080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284231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OCRATE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6823866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YMK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86581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AS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218017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I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096409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LIN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75030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SCAP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2686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XGE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531220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EDI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955407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DIREC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666915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TQ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29651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8047612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CHM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455980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M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04676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MC/HQ EMAI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195678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PT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1354574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SF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59897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D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8364621"/>
                  </a:ext>
                </a:extLst>
              </a:tr>
              <a:tr h="22559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UMEDI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88165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96E38E-3204-23D8-6D41-6731C3E04ED1}"/>
              </a:ext>
            </a:extLst>
          </p:cNvPr>
          <p:cNvSpPr txBox="1"/>
          <p:nvPr/>
        </p:nvSpPr>
        <p:spPr>
          <a:xfrm>
            <a:off x="200177" y="6226259"/>
            <a:ext cx="1752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00877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internal use only, not to be shared outside of intended Merck audience. </a:t>
            </a:r>
          </a:p>
        </p:txBody>
      </p:sp>
    </p:spTree>
    <p:extLst>
      <p:ext uri="{BB962C8B-B14F-4D97-AF65-F5344CB8AC3E}">
        <p14:creationId xmlns:p14="http://schemas.microsoft.com/office/powerpoint/2010/main" val="21846871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2212848"/>
            <a:ext cx="11436351" cy="2020824"/>
          </a:xfrm>
        </p:spPr>
        <p:txBody>
          <a:bodyPr/>
          <a:lstStyle/>
          <a:p>
            <a:r>
              <a:rPr lang="en-GB" dirty="0"/>
              <a:t>1. Marketing Mix - Basics and Agenda</a:t>
            </a:r>
            <a:br>
              <a:rPr lang="en-GB" dirty="0"/>
            </a:b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Introduc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586D4D-F1DA-7078-BB51-13EB99C399D0}"/>
              </a:ext>
            </a:extLst>
          </p:cNvPr>
          <p:cNvSpPr txBox="1"/>
          <p:nvPr/>
        </p:nvSpPr>
        <p:spPr>
          <a:xfrm>
            <a:off x="374904" y="1594974"/>
            <a:ext cx="9189720" cy="14075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dirty="0"/>
              <a:t>Marketing Mix Modeling is a statistical technique to estimate the impacts of various sales and marketing tactics or promotions that drives the brand sales.</a:t>
            </a:r>
          </a:p>
          <a:p>
            <a:pPr algn="l"/>
            <a:endParaRPr lang="en-US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DFEFF4-6C91-8EE5-DC3A-D5DF4F9DA92A}"/>
              </a:ext>
            </a:extLst>
          </p:cNvPr>
          <p:cNvSpPr txBox="1"/>
          <p:nvPr/>
        </p:nvSpPr>
        <p:spPr>
          <a:xfrm>
            <a:off x="374904" y="3574433"/>
            <a:ext cx="6968836" cy="1688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/>
              <a:t>Used to understand relative performances of various promotional channels / vendors / message contents / promotional campaign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/>
              <a:t>Helps to determine optimal mix of promotional investments</a:t>
            </a:r>
          </a:p>
          <a:p>
            <a:pPr algn="l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9312509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How Promotions Wor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234281-6805-7086-B2E2-75307B10421B}"/>
              </a:ext>
            </a:extLst>
          </p:cNvPr>
          <p:cNvSpPr txBox="1"/>
          <p:nvPr/>
        </p:nvSpPr>
        <p:spPr>
          <a:xfrm>
            <a:off x="374904" y="1408164"/>
            <a:ext cx="11397542" cy="6791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dirty="0"/>
              <a:t>Merck researches, gets approval from regulatory agencies, makes and sells multiple brands or products ex: Keytruda, Gardasil, Januvia etc.</a:t>
            </a:r>
          </a:p>
          <a:p>
            <a:pPr algn="l"/>
            <a:endParaRPr lang="en-US" sz="1800" dirty="0"/>
          </a:p>
          <a:p>
            <a:pPr algn="l"/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EB1B63-A045-7CA4-F93A-3862697D8C59}"/>
              </a:ext>
            </a:extLst>
          </p:cNvPr>
          <p:cNvSpPr txBox="1"/>
          <p:nvPr/>
        </p:nvSpPr>
        <p:spPr>
          <a:xfrm>
            <a:off x="6172200" y="2248323"/>
            <a:ext cx="5527259" cy="295052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Patients (Health Care Consumers – HCC) learn more about the brands through Consumer Promotional Channels and these channels are referred as </a:t>
            </a:r>
            <a:r>
              <a:rPr lang="en-US" sz="1600" dirty="0">
                <a:highlight>
                  <a:srgbClr val="FFFF00"/>
                </a:highlight>
              </a:rPr>
              <a:t>HCC Promotions.</a:t>
            </a:r>
          </a:p>
          <a:p>
            <a:pPr algn="l"/>
            <a:endParaRPr lang="en-US" sz="1600" dirty="0"/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When patients are informed about a brand, they are likely to ask or discuss about it with their HCPs and gives an opportunity for the HCPs to consider prescribing the brand. </a:t>
            </a:r>
          </a:p>
          <a:p>
            <a:pPr algn="l"/>
            <a:endParaRPr lang="en-US" sz="1400" dirty="0"/>
          </a:p>
          <a:p>
            <a:pPr algn="l"/>
            <a:endParaRPr lang="en-US" sz="1400" dirty="0"/>
          </a:p>
          <a:p>
            <a:pPr algn="l"/>
            <a:endParaRPr 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44134B-6EDD-6D4A-1ECE-192BBBB70BD9}"/>
              </a:ext>
            </a:extLst>
          </p:cNvPr>
          <p:cNvSpPr txBox="1"/>
          <p:nvPr/>
        </p:nvSpPr>
        <p:spPr>
          <a:xfrm>
            <a:off x="771216" y="2248323"/>
            <a:ext cx="4599867" cy="29505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Physicians (Health Care Providers – HCPs) will have to be familiar with brand profile, efficacy, safety </a:t>
            </a:r>
            <a:r>
              <a:rPr lang="en-US" sz="1600" dirty="0" err="1"/>
              <a:t>etc</a:t>
            </a:r>
            <a:r>
              <a:rPr lang="en-US" sz="1600" dirty="0"/>
              <a:t>  so that they could prescribe the relevant brands to their patients. </a:t>
            </a:r>
          </a:p>
          <a:p>
            <a:pPr algn="l"/>
            <a:endParaRPr lang="en-US" sz="1600" dirty="0"/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Such information are provided to physicians through multiple promotional channels and are generally referred to as </a:t>
            </a:r>
            <a:r>
              <a:rPr lang="en-US" sz="1600" dirty="0">
                <a:highlight>
                  <a:srgbClr val="FFFF00"/>
                </a:highlight>
              </a:rPr>
              <a:t>HCP Promotions</a:t>
            </a:r>
          </a:p>
        </p:txBody>
      </p:sp>
      <p:sp>
        <p:nvSpPr>
          <p:cNvPr id="7" name="Wave 6">
            <a:extLst>
              <a:ext uri="{FF2B5EF4-FFF2-40B4-BE49-F238E27FC236}">
                <a16:creationId xmlns:a16="http://schemas.microsoft.com/office/drawing/2014/main" id="{D39D6817-F27E-790F-CAFD-266A5674B713}"/>
              </a:ext>
            </a:extLst>
          </p:cNvPr>
          <p:cNvSpPr/>
          <p:nvPr/>
        </p:nvSpPr>
        <p:spPr>
          <a:xfrm>
            <a:off x="3348446" y="5359825"/>
            <a:ext cx="4270248" cy="914400"/>
          </a:xfrm>
          <a:prstGeom prst="wav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Are these promotions effective in driving sales?</a:t>
            </a:r>
          </a:p>
        </p:txBody>
      </p:sp>
    </p:spTree>
    <p:extLst>
      <p:ext uri="{BB962C8B-B14F-4D97-AF65-F5344CB8AC3E}">
        <p14:creationId xmlns:p14="http://schemas.microsoft.com/office/powerpoint/2010/main" val="405247647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HCP and HCC Promotion / Communication Channel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344763"/>
              </p:ext>
            </p:extLst>
          </p:nvPr>
        </p:nvGraphicFramePr>
        <p:xfrm>
          <a:off x="390504" y="1373606"/>
          <a:ext cx="3413099" cy="5018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3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3226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P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481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ersonal Promoti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ales Force Rep Calls &amp; Det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amples / Vouchers / Coup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peaker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Lunch Meeting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erck Medical Forum (Speaker Programs)</a:t>
                      </a:r>
                      <a:endParaRPr lang="en-US" sz="1200" u="sng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000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Non-Personal Promoti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Field Rep Em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eadquarter Emails (SFMC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Third Party Vendor Em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Alert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E-Detail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Display / Banner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CP Paid Search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Contextual Search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56401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6F5B7B-9A87-21D8-683C-686D81E4F0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973027"/>
              </p:ext>
            </p:extLst>
          </p:nvPr>
        </p:nvGraphicFramePr>
        <p:xfrm>
          <a:off x="4013365" y="1373606"/>
          <a:ext cx="3410712" cy="5020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0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135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C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40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Tradition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V (or Linear TV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 Magazines</a:t>
                      </a:r>
                      <a:endParaRPr lang="en-US" sz="1200" baseline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628299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Digit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Geo Targeting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oci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gital Radio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splay Banner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treaming Video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nline Video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id Search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rganic Search / Site Visi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1AF7671-6F33-9A97-D102-585069511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704206"/>
              </p:ext>
            </p:extLst>
          </p:nvPr>
        </p:nvGraphicFramePr>
        <p:xfrm>
          <a:off x="7633839" y="1371599"/>
          <a:ext cx="3410712" cy="5018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0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1840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ther HCP / HCC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51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oint of Care (In-Office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aiting Room &amp; Physician Office TV  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gital Wallboards (HCC an HCPs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ed Materials (HCC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Posters (HCC)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655691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Adherence &amp; EHR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obile Alert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tient Support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ails and Banners through Physician and Patient related Health Care Apps &amp; Insurance Companie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EEC11EF-FFF4-F467-A368-6262B3143C24}"/>
              </a:ext>
            </a:extLst>
          </p:cNvPr>
          <p:cNvSpPr txBox="1"/>
          <p:nvPr/>
        </p:nvSpPr>
        <p:spPr>
          <a:xfrm>
            <a:off x="390504" y="6620369"/>
            <a:ext cx="1801368" cy="21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100" dirty="0"/>
              <a:t>Not an exhaustive list</a:t>
            </a:r>
          </a:p>
        </p:txBody>
      </p:sp>
    </p:spTree>
    <p:extLst>
      <p:ext uri="{BB962C8B-B14F-4D97-AF65-F5344CB8AC3E}">
        <p14:creationId xmlns:p14="http://schemas.microsoft.com/office/powerpoint/2010/main" val="330202443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HCP and HCC Promotion Vendor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68513332-CF2F-D6B5-E296-1EA8A8A88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794037"/>
              </p:ext>
            </p:extLst>
          </p:nvPr>
        </p:nvGraphicFramePr>
        <p:xfrm>
          <a:off x="390214" y="1373608"/>
          <a:ext cx="3410712" cy="5020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0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8074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P Vend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418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ersonal Promotio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Merck Rep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Virtual Sales For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512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Non-Personal Promotion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Medscape (email / alert / </a:t>
                      </a:r>
                      <a:r>
                        <a:rPr lang="en-US" sz="1200" baseline="0" dirty="0" err="1"/>
                        <a:t>eDetail</a:t>
                      </a:r>
                      <a:r>
                        <a:rPr lang="en-US" sz="1200" baseline="0" dirty="0"/>
                        <a:t>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Doximity</a:t>
                      </a:r>
                      <a:r>
                        <a:rPr lang="en-US" sz="1200" baseline="0" dirty="0"/>
                        <a:t> (alert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Epocrates</a:t>
                      </a:r>
                      <a:r>
                        <a:rPr lang="en-US" sz="1200" baseline="0" dirty="0"/>
                        <a:t> (alert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Nexgen</a:t>
                      </a:r>
                      <a:r>
                        <a:rPr lang="en-US" sz="1200" baseline="0" dirty="0"/>
                        <a:t> / MNG (email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err="1"/>
                        <a:t>Numedis</a:t>
                      </a:r>
                      <a:endParaRPr lang="en-US" sz="1200" baseline="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EDH (Everyday Health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Deep Intent (banners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HCP Paid Search (WebMD)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56401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6F5B7B-9A87-21D8-683C-686D81E4F0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931223"/>
              </p:ext>
            </p:extLst>
          </p:nvPr>
        </p:nvGraphicFramePr>
        <p:xfrm>
          <a:off x="4061428" y="1395209"/>
          <a:ext cx="3410712" cy="5012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0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0335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CC Vend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8789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Tradition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V  - ABC, CBS, NBC, FOX, CNN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int Magazines – Time, Readers Digest </a:t>
                      </a:r>
                      <a:r>
                        <a:rPr lang="en-US" sz="1200" dirty="0" err="1"/>
                        <a:t>etc</a:t>
                      </a:r>
                      <a:r>
                        <a:rPr lang="en-US" sz="1200" dirty="0"/>
                        <a:t> 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200" baseline="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200" baseline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78022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Digital Media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ocial Media – Facebook, Instagram, Twitter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gital Radio – Pandora, Spotify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isplay Banners – Websites like NYTimes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treaming Video – Hulu, HBO </a:t>
                      </a:r>
                      <a:r>
                        <a:rPr lang="en-US" sz="1200" dirty="0" err="1"/>
                        <a:t>etc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nline Video - </a:t>
                      </a:r>
                      <a:r>
                        <a:rPr lang="en-US" sz="1200" dirty="0" err="1"/>
                        <a:t>Youtube</a:t>
                      </a:r>
                      <a:endParaRPr lang="en-US" sz="1200" dirty="0"/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id Search – Google, Bing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1AF7671-6F33-9A97-D102-585069511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5789912"/>
              </p:ext>
            </p:extLst>
          </p:nvPr>
        </p:nvGraphicFramePr>
        <p:xfrm>
          <a:off x="7732642" y="1395209"/>
          <a:ext cx="3410712" cy="5020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0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3764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ther HCP / HCC Vendor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970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dirty="0"/>
                        <a:t>Point of Care (In-Office)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tient Point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hecked Up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arget Media Health</a:t>
                      </a:r>
                      <a:endParaRPr lang="en-US" sz="1200" baseline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46892"/>
                  </a:ext>
                </a:extLst>
              </a:tr>
              <a:tr h="280658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200" u="sng" baseline="0" dirty="0"/>
                        <a:t>Adherence &amp; EHR programs</a:t>
                      </a:r>
                    </a:p>
                    <a:p>
                      <a:pPr marL="285750" indent="-285750" algn="l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ultiple vendors and electronic health ap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F447507-49B3-8488-20E9-5D50E41F5022}"/>
              </a:ext>
            </a:extLst>
          </p:cNvPr>
          <p:cNvSpPr txBox="1"/>
          <p:nvPr/>
        </p:nvSpPr>
        <p:spPr>
          <a:xfrm>
            <a:off x="390214" y="6415265"/>
            <a:ext cx="3493008" cy="2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100" dirty="0"/>
              <a:t>Not an exhaustive list. Appendix has additional detail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9A571A-E0CD-6C82-86C4-018C8B81EE53}"/>
              </a:ext>
            </a:extLst>
          </p:cNvPr>
          <p:cNvSpPr txBox="1"/>
          <p:nvPr/>
        </p:nvSpPr>
        <p:spPr>
          <a:xfrm>
            <a:off x="374904" y="6594398"/>
            <a:ext cx="6620255" cy="2489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100" dirty="0"/>
              <a:t>Team Frontiers (previously Initiative) is a vendor who manages most vendors on Merck’s behalf (i.e., media buyer).</a:t>
            </a:r>
          </a:p>
        </p:txBody>
      </p:sp>
    </p:spTree>
    <p:extLst>
      <p:ext uri="{BB962C8B-B14F-4D97-AF65-F5344CB8AC3E}">
        <p14:creationId xmlns:p14="http://schemas.microsoft.com/office/powerpoint/2010/main" val="166068510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itivity of ROI and Mkt Mix Outpu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7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74FDEF-657F-A088-655F-322AC8E2CA8D}"/>
              </a:ext>
            </a:extLst>
          </p:cNvPr>
          <p:cNvSpPr txBox="1"/>
          <p:nvPr/>
        </p:nvSpPr>
        <p:spPr>
          <a:xfrm>
            <a:off x="377824" y="1527634"/>
            <a:ext cx="10296144" cy="4114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dirty="0"/>
              <a:t>ROI, Net Present Values, Incremental Revenues </a:t>
            </a:r>
            <a:r>
              <a:rPr lang="en-US" sz="2400" dirty="0" err="1"/>
              <a:t>etc</a:t>
            </a:r>
            <a:r>
              <a:rPr lang="en-US" sz="2400" dirty="0"/>
              <a:t> are highly sensitive information with very limited audience.</a:t>
            </a:r>
          </a:p>
          <a:p>
            <a:pPr algn="l"/>
            <a:endParaRPr lang="en-US" sz="2400" dirty="0"/>
          </a:p>
          <a:p>
            <a:pPr algn="l"/>
            <a:r>
              <a:rPr lang="en-US" sz="2400" dirty="0"/>
              <a:t>Audiences are determined by Finance and in some cases Legal.</a:t>
            </a:r>
          </a:p>
          <a:p>
            <a:pPr algn="l"/>
            <a:endParaRPr lang="en-US" sz="2400" dirty="0"/>
          </a:p>
          <a:p>
            <a:pPr algn="l"/>
            <a:r>
              <a:rPr lang="en-US" sz="2400" dirty="0"/>
              <a:t>In general Brand Team, DET and Media team only receives information. Some channels like Samples, Vouchers </a:t>
            </a:r>
            <a:r>
              <a:rPr lang="en-US" sz="2400" dirty="0" err="1"/>
              <a:t>etc</a:t>
            </a:r>
            <a:r>
              <a:rPr lang="en-US" sz="2400" dirty="0"/>
              <a:t> are even more restricted.</a:t>
            </a:r>
          </a:p>
          <a:p>
            <a:pPr algn="l"/>
            <a:endParaRPr lang="en-US" sz="2400" dirty="0"/>
          </a:p>
          <a:p>
            <a:pPr algn="l"/>
            <a:r>
              <a:rPr lang="en-US" sz="2400" dirty="0"/>
              <a:t>Check with the IAIO leadership or Finance or Legal teams if in doubt about decimation of Marketing Mix Results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543973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63506-3FF4-1270-CA95-2FA07A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ganization of Trai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43A2C-115E-B6A8-5503-38C9BB7B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8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D816BF-51C5-9D6A-1892-E491BC92918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5031" y="1627489"/>
            <a:ext cx="11439144" cy="4453128"/>
          </a:xfrm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dirty="0"/>
              <a:t>Marketing Mix Models Introdu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Extra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Explor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Transformation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rrelation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– Part 1 : </a:t>
            </a:r>
            <a:r>
              <a:rPr lang="en-US" dirty="0" err="1"/>
              <a:t>Koyck</a:t>
            </a:r>
            <a:r>
              <a:rPr lang="en-US" dirty="0"/>
              <a:t>, OLS, Data Deviations, Dealing with multicollinearity &amp; error dependencies, Belsomra example. 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– Part 2 : Handling Outliers, Parametric / semi-parametric / non-parametric models, Discussion on response shapes 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– Part 3 : Longitudinal (or Panel) Data Analysi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Computing ROIs</a:t>
            </a:r>
          </a:p>
          <a:p>
            <a:pPr marL="228600" indent="-228600">
              <a:buFont typeface="+mj-lt"/>
              <a:buAutoNum type="arabicPeriod"/>
            </a:pPr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Brand Complete Walk Through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Practice Session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28B310D-F3A0-7BEA-1001-93128E8698F3}"/>
              </a:ext>
            </a:extLst>
          </p:cNvPr>
          <p:cNvCxnSpPr>
            <a:cxnSpLocks/>
          </p:cNvCxnSpPr>
          <p:nvPr/>
        </p:nvCxnSpPr>
        <p:spPr>
          <a:xfrm flipV="1">
            <a:off x="375029" y="3556620"/>
            <a:ext cx="11082403" cy="954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5AD012B-EE21-F490-3521-F34C6E01D3E5}"/>
              </a:ext>
            </a:extLst>
          </p:cNvPr>
          <p:cNvCxnSpPr>
            <a:cxnSpLocks/>
          </p:cNvCxnSpPr>
          <p:nvPr/>
        </p:nvCxnSpPr>
        <p:spPr>
          <a:xfrm>
            <a:off x="375030" y="4980162"/>
            <a:ext cx="11082402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BFFD3E7-BFF1-60E4-DEB1-EE6AFD07DEDA}"/>
              </a:ext>
            </a:extLst>
          </p:cNvPr>
          <p:cNvCxnSpPr>
            <a:cxnSpLocks/>
          </p:cNvCxnSpPr>
          <p:nvPr/>
        </p:nvCxnSpPr>
        <p:spPr>
          <a:xfrm>
            <a:off x="375029" y="6056233"/>
            <a:ext cx="11082403" cy="24384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FFFE92-63AB-D330-B48B-FECBD98913C1}"/>
              </a:ext>
            </a:extLst>
          </p:cNvPr>
          <p:cNvSpPr/>
          <p:nvPr/>
        </p:nvSpPr>
        <p:spPr>
          <a:xfrm>
            <a:off x="10296142" y="2315996"/>
            <a:ext cx="1161290" cy="3657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ay 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B435A40-1CC0-16B5-6E33-4B1D0D821A49}"/>
              </a:ext>
            </a:extLst>
          </p:cNvPr>
          <p:cNvSpPr/>
          <p:nvPr/>
        </p:nvSpPr>
        <p:spPr>
          <a:xfrm>
            <a:off x="10296142" y="4085511"/>
            <a:ext cx="1161290" cy="3657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ay 2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B7AC9E8-3FAB-82C6-C992-8CC102D0689D}"/>
              </a:ext>
            </a:extLst>
          </p:cNvPr>
          <p:cNvSpPr/>
          <p:nvPr/>
        </p:nvSpPr>
        <p:spPr>
          <a:xfrm>
            <a:off x="10296142" y="5410072"/>
            <a:ext cx="1161290" cy="36576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ay 3 – 3.5</a:t>
            </a:r>
          </a:p>
        </p:txBody>
      </p:sp>
    </p:spTree>
    <p:extLst>
      <p:ext uri="{BB962C8B-B14F-4D97-AF65-F5344CB8AC3E}">
        <p14:creationId xmlns:p14="http://schemas.microsoft.com/office/powerpoint/2010/main" val="271081599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50" dirty="0">
                <a:ea typeface="Cambria Math" panose="02040503050406030204" pitchFamily="18" charset="0"/>
              </a:rPr>
              <a:t>Appendi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67707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3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3858</TotalTime>
  <Words>1302</Words>
  <Application>Microsoft Office PowerPoint</Application>
  <PresentationFormat>Widescreen</PresentationFormat>
  <Paragraphs>406</Paragraphs>
  <Slides>1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Narrow</vt:lpstr>
      <vt:lpstr>Calibri</vt:lpstr>
      <vt:lpstr>Invention</vt:lpstr>
      <vt:lpstr>Invention Light</vt:lpstr>
      <vt:lpstr>Merck 16:9 PPT Theme</vt:lpstr>
      <vt:lpstr>Marketing Mix Models  Senthil Murugan (Merck) &amp; Sarath Ashokan (Datazymes)</vt:lpstr>
      <vt:lpstr>1. Marketing Mix - Basics and Agenda </vt:lpstr>
      <vt:lpstr>PowerPoint Presentation</vt:lpstr>
      <vt:lpstr>PowerPoint Presentation</vt:lpstr>
      <vt:lpstr>PowerPoint Presentation</vt:lpstr>
      <vt:lpstr>PowerPoint Presentation</vt:lpstr>
      <vt:lpstr>Sensitivity of ROI and Mkt Mix Outputs</vt:lpstr>
      <vt:lpstr>Organization of Training</vt:lpstr>
      <vt:lpstr>Appendix</vt:lpstr>
      <vt:lpstr>HCP Non-Personal / Digital Promotion</vt:lpstr>
      <vt:lpstr>Consumer Digital Promotion</vt:lpstr>
      <vt:lpstr>Personal Promotion</vt:lpstr>
      <vt:lpstr>Channels and Vendors included in Analysi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aji, Pramit Kumar</cp:lastModifiedBy>
  <cp:revision>222</cp:revision>
  <dcterms:created xsi:type="dcterms:W3CDTF">2022-11-08T10:28:18Z</dcterms:created>
  <dcterms:modified xsi:type="dcterms:W3CDTF">2023-09-24T17:35:5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  <property fmtid="{D5CDD505-2E9C-101B-9397-08002B2CF9AE}" pid="12" name="_AdHocReviewCycleID">
    <vt:i4>-1065542318</vt:i4>
  </property>
  <property fmtid="{D5CDD505-2E9C-101B-9397-08002B2CF9AE}" pid="13" name="_NewReviewCycle">
    <vt:lpwstr/>
  </property>
  <property fmtid="{D5CDD505-2E9C-101B-9397-08002B2CF9AE}" pid="14" name="_EmailSubject">
    <vt:lpwstr>MMx Modules - Day 1</vt:lpwstr>
  </property>
  <property fmtid="{D5CDD505-2E9C-101B-9397-08002B2CF9AE}" pid="15" name="_AuthorEmail">
    <vt:lpwstr>sarath.a@merck.com</vt:lpwstr>
  </property>
  <property fmtid="{D5CDD505-2E9C-101B-9397-08002B2CF9AE}" pid="16" name="_AuthorEmailDisplayName">
    <vt:lpwstr>A, Sarath</vt:lpwstr>
  </property>
</Properties>
</file>